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4DE9A67-CCD4-7FF1-6458-DD7F3AF5D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DE9A67-CCD4-7FF1-6458-DD7F3AF5D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FC37D5-25F0-CF2A-46BB-3B46C7CDC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tr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F4A707-DF39-B3FB-1DE5-1C4018870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458EF2-67D1-1239-E240-E32B4B2A6EBC}"/>
              </a:ext>
            </a:extLst>
          </p:cNvPr>
          <p:cNvGrpSpPr/>
          <p:nvPr/>
        </p:nvGrpSpPr>
        <p:grpSpPr>
          <a:xfrm>
            <a:off x="3405188" y="2030570"/>
            <a:ext cx="11477625" cy="6962555"/>
            <a:chOff x="2427262" y="1070515"/>
            <a:chExt cx="4318931" cy="3475731"/>
          </a:xfrm>
        </p:grpSpPr>
        <p:sp>
          <p:nvSpPr>
            <p:cNvPr id="25" name="Arrow: Left-Right 24">
              <a:extLst>
                <a:ext uri="{FF2B5EF4-FFF2-40B4-BE49-F238E27FC236}">
                  <a16:creationId xmlns:a16="http://schemas.microsoft.com/office/drawing/2014/main" id="{D724DA07-DFC4-8319-86FB-1C3A24B08BE7}"/>
                </a:ext>
              </a:extLst>
            </p:cNvPr>
            <p:cNvSpPr/>
            <p:nvPr/>
          </p:nvSpPr>
          <p:spPr>
            <a:xfrm>
              <a:off x="2909383" y="2691170"/>
              <a:ext cx="3325235" cy="83925"/>
            </a:xfrm>
            <a:prstGeom prst="leftRightArrow">
              <a:avLst>
                <a:gd name="adj1" fmla="val 274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Arrow: Left-Right 25">
              <a:extLst>
                <a:ext uri="{FF2B5EF4-FFF2-40B4-BE49-F238E27FC236}">
                  <a16:creationId xmlns:a16="http://schemas.microsoft.com/office/drawing/2014/main" id="{ACFD9965-6A02-72D6-4044-ED5F0AF70047}"/>
                </a:ext>
              </a:extLst>
            </p:cNvPr>
            <p:cNvSpPr/>
            <p:nvPr/>
          </p:nvSpPr>
          <p:spPr>
            <a:xfrm rot="5400000">
              <a:off x="2909383" y="2691170"/>
              <a:ext cx="3325235" cy="83925"/>
            </a:xfrm>
            <a:prstGeom prst="leftRightArrow">
              <a:avLst>
                <a:gd name="adj1" fmla="val 274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1FE727B-9C15-FE5D-8D07-169B86040206}"/>
                </a:ext>
              </a:extLst>
            </p:cNvPr>
            <p:cNvSpPr/>
            <p:nvPr/>
          </p:nvSpPr>
          <p:spPr>
            <a:xfrm flipH="1">
              <a:off x="2985501" y="1140968"/>
              <a:ext cx="1510385" cy="151038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E56CC6D-1A2C-AB9D-F98F-DBE5BAFD7391}"/>
                </a:ext>
              </a:extLst>
            </p:cNvPr>
            <p:cNvSpPr/>
            <p:nvPr/>
          </p:nvSpPr>
          <p:spPr>
            <a:xfrm>
              <a:off x="4648117" y="1140968"/>
              <a:ext cx="1510383" cy="1510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8A3C441-67AA-F89E-1840-E44E759B6E5F}"/>
                </a:ext>
              </a:extLst>
            </p:cNvPr>
            <p:cNvSpPr/>
            <p:nvPr/>
          </p:nvSpPr>
          <p:spPr>
            <a:xfrm flipH="1" flipV="1">
              <a:off x="2985501" y="2814697"/>
              <a:ext cx="1510385" cy="15103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A64BB1-FCDF-10A3-132E-48C6C4200FFF}"/>
                </a:ext>
              </a:extLst>
            </p:cNvPr>
            <p:cNvSpPr/>
            <p:nvPr/>
          </p:nvSpPr>
          <p:spPr>
            <a:xfrm flipV="1">
              <a:off x="4648117" y="2814697"/>
              <a:ext cx="1510383" cy="151038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EE4539B-C514-8B35-D054-9080B4D34A9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86900" y="4484370"/>
              <a:ext cx="3171600" cy="0"/>
            </a:xfrm>
            <a:prstGeom prst="line">
              <a:avLst/>
            </a:pr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FF9AAFE-BF0C-5074-3889-8CBEAAFFC4AA}"/>
                </a:ext>
              </a:extLst>
            </p:cNvPr>
            <p:cNvSpPr/>
            <p:nvPr/>
          </p:nvSpPr>
          <p:spPr>
            <a:xfrm rot="10800000" flipV="1">
              <a:off x="4038602" y="4412320"/>
              <a:ext cx="1066798" cy="133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latin typeface="+mj-lt"/>
                </a:rPr>
                <a:t>Business Value</a:t>
              </a:r>
              <a:endParaRPr lang="en-US" sz="1600" b="1" dirty="0">
                <a:latin typeface="+mj-lt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EE60B79-D746-ED03-011A-7A875C9B830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138944" y="2756862"/>
              <a:ext cx="3171600" cy="0"/>
            </a:xfrm>
            <a:prstGeom prst="line">
              <a:avLst/>
            </a:pr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2159713-FB99-E5BE-1A49-0993500D6351}"/>
                </a:ext>
              </a:extLst>
            </p:cNvPr>
            <p:cNvSpPr/>
            <p:nvPr/>
          </p:nvSpPr>
          <p:spPr>
            <a:xfrm rot="5400000" flipV="1">
              <a:off x="2186257" y="2690599"/>
              <a:ext cx="1066798" cy="133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latin typeface="+mj-lt"/>
                </a:rPr>
                <a:t>Complexity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0B1DB47-2FA8-B730-4E94-D6EA4A008B63}"/>
                </a:ext>
              </a:extLst>
            </p:cNvPr>
            <p:cNvSpPr/>
            <p:nvPr/>
          </p:nvSpPr>
          <p:spPr>
            <a:xfrm rot="10800000" flipV="1">
              <a:off x="2427262" y="4410238"/>
              <a:ext cx="580836" cy="133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latin typeface="+mj-lt"/>
                </a:rPr>
                <a:t>Low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C2195F9-F8CF-984D-0F25-08DBBE31C6B6}"/>
                </a:ext>
              </a:extLst>
            </p:cNvPr>
            <p:cNvSpPr/>
            <p:nvPr/>
          </p:nvSpPr>
          <p:spPr>
            <a:xfrm rot="10800000" flipV="1">
              <a:off x="6165357" y="4412319"/>
              <a:ext cx="580836" cy="133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latin typeface="+mj-lt"/>
                </a:rPr>
                <a:t>High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A43853-5C33-A3F0-C008-2991224C518B}"/>
                </a:ext>
              </a:extLst>
            </p:cNvPr>
            <p:cNvSpPr/>
            <p:nvPr/>
          </p:nvSpPr>
          <p:spPr>
            <a:xfrm rot="5400000" flipV="1">
              <a:off x="2225522" y="1394517"/>
              <a:ext cx="580836" cy="133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600" dirty="0">
                  <a:latin typeface="+mj-lt"/>
                </a:rPr>
                <a:t>High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A6C930D-5A5F-1DF8-CB80-ED5624D7F5E6}"/>
                </a:ext>
              </a:extLst>
            </p:cNvPr>
            <p:cNvSpPr/>
            <p:nvPr/>
          </p:nvSpPr>
          <p:spPr>
            <a:xfrm flipH="1">
              <a:off x="3059220" y="1570161"/>
              <a:ext cx="1362947" cy="64850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bg1"/>
                  </a:solidFill>
                  <a:latin typeface="+mj-lt"/>
                </a:rPr>
                <a:t>[Main Title  #01]</a:t>
              </a:r>
            </a:p>
            <a:p>
              <a:pPr algn="ctr"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Lorem Ipsum is simply dummy text of the printing and typesetting industry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9E83C92-3CCE-0F6B-1E5F-679A7AE2DD79}"/>
                </a:ext>
              </a:extLst>
            </p:cNvPr>
            <p:cNvSpPr/>
            <p:nvPr/>
          </p:nvSpPr>
          <p:spPr>
            <a:xfrm flipH="1">
              <a:off x="4711118" y="1569304"/>
              <a:ext cx="1382207" cy="64850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bg1"/>
                  </a:solidFill>
                  <a:latin typeface="+mj-lt"/>
                </a:rPr>
                <a:t>[Main Title  #02]</a:t>
              </a:r>
            </a:p>
            <a:p>
              <a:pPr algn="ctr"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Lorem Ipsum is simply dummy text of the printing and typesetting industry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3358BF7-DEEF-0290-987E-7238E91DA443}"/>
                </a:ext>
              </a:extLst>
            </p:cNvPr>
            <p:cNvSpPr/>
            <p:nvPr/>
          </p:nvSpPr>
          <p:spPr>
            <a:xfrm flipH="1">
              <a:off x="3059220" y="3245638"/>
              <a:ext cx="1362947" cy="64850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latin typeface="+mj-lt"/>
                </a:rPr>
                <a:t>[Main Title  #03]</a:t>
              </a:r>
            </a:p>
            <a:p>
              <a:pPr algn="ctr">
                <a:lnSpc>
                  <a:spcPct val="120000"/>
                </a:lnSpc>
              </a:pPr>
              <a:r>
                <a:rPr lang="en-US" dirty="0">
                  <a:latin typeface="+mj-lt"/>
                </a:rPr>
                <a:t>Lorem Ipsum is simply dummy text of the printing and typesetting industry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CC4729B-91DD-6FA1-3500-33C7949B76F8}"/>
                </a:ext>
              </a:extLst>
            </p:cNvPr>
            <p:cNvSpPr/>
            <p:nvPr/>
          </p:nvSpPr>
          <p:spPr>
            <a:xfrm flipH="1">
              <a:off x="4733187" y="3245638"/>
              <a:ext cx="1382206" cy="64850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bg1"/>
                  </a:solidFill>
                  <a:latin typeface="+mj-lt"/>
                </a:rPr>
                <a:t>[Main Title  #04]</a:t>
              </a:r>
            </a:p>
            <a:p>
              <a:pPr algn="ctr"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Lorem Ipsum is simply dummy text of the printing and typesetting indust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1809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7</TotalTime>
  <Words>80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Matrix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88</cp:revision>
  <dcterms:created xsi:type="dcterms:W3CDTF">2006-08-16T00:00:00Z</dcterms:created>
  <dcterms:modified xsi:type="dcterms:W3CDTF">2025-10-06T09:00:16Z</dcterms:modified>
  <cp:category/>
  <dc:identifier>DAGkDf5R9EM</dc:identifier>
</cp:coreProperties>
</file>